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3" r:id="rId5"/>
    <p:sldMasterId id="2147483715" r:id="rId6"/>
  </p:sldMasterIdLst>
  <p:notesMasterIdLst>
    <p:notesMasterId r:id="rId8"/>
  </p:notesMasterIdLst>
  <p:sldIdLst>
    <p:sldId id="2145707921" r:id="rId7"/>
  </p:sldIdLst>
  <p:sldSz cx="12192000" cy="6858000"/>
  <p:notesSz cx="7104063" cy="10234613"/>
  <p:custDataLst>
    <p:tags r:id="rId9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AD8BB6E-4DF3-6FD7-E368-DBD4F2F8D12D}" name="Falade, Josephine" initials="JF" userId="S::ucnvjfa@ucl.ac.uk::f4409e98-995c-48c8-b608-9db20700f496" providerId="AD"/>
  <p188:author id="{A193557B-A520-B2E0-D6BD-5936758BC94B}" name="Mark Shek (NHS South East London ICB)" initials="MS" userId="S::Mark.Shek@selondonics.nhs.uk::8483aba8-84ad-425f-88d8-027060275a99" providerId="AD"/>
  <p188:author id="{C4E76CDC-4736-09F4-2A3F-988CB5E6C927}" name="Alexander Pini (NHS South East London ICB)" initials="AP" userId="S::Alexander.Pini@selondonics.nhs.uk::95608fa6-7828-4b01-9b75-9715035d009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8B1B6"/>
    <a:srgbClr val="DEEE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850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microsoft.com/office/2018/10/relationships/authors" Target="authors.xml"/><Relationship Id="rId10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tags" Target="tags/tag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ara Elwahsh (NHS South East London ICB)" userId="87554ac3-4586-4d92-bbcf-0e7ae4497b6f" providerId="ADAL" clId="{2E8D3DD6-6F6D-4E69-88AD-AF2806C6746F}"/>
    <pc:docChg chg="custSel modSld">
      <pc:chgData name="Lara Elwahsh (NHS South East London ICB)" userId="87554ac3-4586-4d92-bbcf-0e7ae4497b6f" providerId="ADAL" clId="{2E8D3DD6-6F6D-4E69-88AD-AF2806C6746F}" dt="2025-11-11T15:20:30.340" v="2" actId="478"/>
      <pc:docMkLst>
        <pc:docMk/>
      </pc:docMkLst>
      <pc:sldChg chg="delSp modSp mod">
        <pc:chgData name="Lara Elwahsh (NHS South East London ICB)" userId="87554ac3-4586-4d92-bbcf-0e7ae4497b6f" providerId="ADAL" clId="{2E8D3DD6-6F6D-4E69-88AD-AF2806C6746F}" dt="2025-11-11T15:20:30.340" v="2" actId="478"/>
        <pc:sldMkLst>
          <pc:docMk/>
          <pc:sldMk cId="3955338737" sldId="2145707921"/>
        </pc:sldMkLst>
        <pc:spChg chg="del">
          <ac:chgData name="Lara Elwahsh (NHS South East London ICB)" userId="87554ac3-4586-4d92-bbcf-0e7ae4497b6f" providerId="ADAL" clId="{2E8D3DD6-6F6D-4E69-88AD-AF2806C6746F}" dt="2025-11-11T15:20:30.340" v="2" actId="478"/>
          <ac:spMkLst>
            <pc:docMk/>
            <pc:sldMk cId="3955338737" sldId="2145707921"/>
            <ac:spMk id="2" creationId="{98CC855E-8082-8FA3-E093-0758D4F9B812}"/>
          </ac:spMkLst>
        </pc:spChg>
        <pc:spChg chg="mod">
          <ac:chgData name="Lara Elwahsh (NHS South East London ICB)" userId="87554ac3-4586-4d92-bbcf-0e7ae4497b6f" providerId="ADAL" clId="{2E8D3DD6-6F6D-4E69-88AD-AF2806C6746F}" dt="2025-11-11T15:20:22.745" v="1" actId="20577"/>
          <ac:spMkLst>
            <pc:docMk/>
            <pc:sldMk cId="3955338737" sldId="2145707921"/>
            <ac:spMk id="4" creationId="{3E147D01-8F02-20EB-1D46-BF84C2DF3E8E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C6C2909-A1D4-9941-6C5D-11CB25560CA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8427" cy="513508"/>
          </a:xfrm>
          <a:prstGeom prst="rect">
            <a:avLst/>
          </a:prstGeom>
        </p:spPr>
        <p:txBody>
          <a:bodyPr vert="horz" lIns="96085" tIns="48043" rIns="96085" bIns="48043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512F19-6492-DA47-953D-143B592A786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3993" y="0"/>
            <a:ext cx="3078427" cy="513508"/>
          </a:xfrm>
          <a:prstGeom prst="rect">
            <a:avLst/>
          </a:prstGeom>
        </p:spPr>
        <p:txBody>
          <a:bodyPr vert="horz" lIns="96085" tIns="48043" rIns="96085" bIns="48043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300" smtClean="0">
                <a:latin typeface="+mn-lt"/>
              </a:defRPr>
            </a:lvl1pPr>
          </a:lstStyle>
          <a:p>
            <a:pPr>
              <a:defRPr/>
            </a:pPr>
            <a:fld id="{E6E06791-CDBF-A647-8444-DF777B63999E}" type="datetimeFigureOut">
              <a:rPr lang="en-US"/>
              <a:pPr>
                <a:defRPr/>
              </a:pPr>
              <a:t>11/11/2025</a:t>
            </a:fld>
            <a:endParaRPr lang="en-US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E6C2EAD5-306E-5D6B-3A8C-A7EBFA142B0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81013" y="1279525"/>
            <a:ext cx="6142037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085" tIns="48043" rIns="96085" bIns="48043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38FADCA2-986A-8495-B1A1-055029DE9D2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6085" tIns="48043" rIns="96085" bIns="48043" rtlCol="0"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E455A8D-F194-1CEF-E639-BFD13897CF7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1" y="9721106"/>
            <a:ext cx="3078427" cy="513507"/>
          </a:xfrm>
          <a:prstGeom prst="rect">
            <a:avLst/>
          </a:prstGeom>
        </p:spPr>
        <p:txBody>
          <a:bodyPr vert="horz" lIns="96085" tIns="48043" rIns="96085" bIns="48043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768ED3-560E-1E75-C627-0F6EDF16403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3993" y="9721106"/>
            <a:ext cx="3078427" cy="513507"/>
          </a:xfrm>
          <a:prstGeom prst="rect">
            <a:avLst/>
          </a:prstGeom>
        </p:spPr>
        <p:txBody>
          <a:bodyPr vert="horz" lIns="96085" tIns="48043" rIns="96085" bIns="48043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300" smtClean="0">
                <a:latin typeface="+mn-lt"/>
              </a:defRPr>
            </a:lvl1pPr>
          </a:lstStyle>
          <a:p>
            <a:pPr>
              <a:defRPr/>
            </a:pPr>
            <a:fld id="{B06726BC-5D2B-5E4B-962F-582EB5C042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6726BC-5D2B-5E4B-962F-582EB5C0426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12611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lu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458788" y="2660520"/>
            <a:ext cx="9426575" cy="148117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800" b="1">
                <a:solidFill>
                  <a:srgbClr val="39BBE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458788" y="4237188"/>
            <a:ext cx="7959725" cy="48381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2656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footer section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E4038FD0-2570-F82C-50C4-C27E118E5F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E4038FD0-2570-F82C-50C4-C27E118E5F7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DDF79393-F0C2-F093-EA57-C6FE02599E89}"/>
              </a:ext>
            </a:extLst>
          </p:cNvPr>
          <p:cNvSpPr/>
          <p:nvPr/>
        </p:nvSpPr>
        <p:spPr>
          <a:xfrm>
            <a:off x="0" y="6440488"/>
            <a:ext cx="12192000" cy="42703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D415DD5-CA35-230E-E777-24DF6B527F7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C5B21422-1590-694D-A969-F6789BD7D25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DD4F447-8CA9-33BE-E377-5978DF6D4F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013" y="563400"/>
            <a:ext cx="7994029" cy="662782"/>
          </a:xfrm>
          <a:prstGeom prst="rect">
            <a:avLst/>
          </a:prstGeom>
        </p:spPr>
        <p:txBody>
          <a:bodyPr vert="horz" anchor="ctr"/>
          <a:lstStyle>
            <a:lvl1pPr algn="l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490255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with footer section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E4038FD0-2570-F82C-50C4-C27E118E5F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E4038FD0-2570-F82C-50C4-C27E118E5F7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DDF79393-F0C2-F093-EA57-C6FE02599E89}"/>
              </a:ext>
            </a:extLst>
          </p:cNvPr>
          <p:cNvSpPr/>
          <p:nvPr/>
        </p:nvSpPr>
        <p:spPr>
          <a:xfrm>
            <a:off x="0" y="6440488"/>
            <a:ext cx="12192000" cy="42703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D415DD5-CA35-230E-E777-24DF6B527F7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C5B21422-1590-694D-A969-F6789BD7D25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B458B4A-1704-7FAA-2888-97123A65BC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306" y="585434"/>
            <a:ext cx="7524521" cy="662782"/>
          </a:xfrm>
          <a:prstGeom prst="rect">
            <a:avLst/>
          </a:prstGeom>
        </p:spPr>
        <p:txBody>
          <a:bodyPr vert="horz" anchor="ctr"/>
          <a:lstStyle>
            <a:lvl1pPr algn="ctr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743901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statement whit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204378" y="2918572"/>
            <a:ext cx="7369175" cy="7255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41283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statement blu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411412" y="2918572"/>
            <a:ext cx="7369175" cy="7255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6000" b="1">
                <a:solidFill>
                  <a:srgbClr val="39BBE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01678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ICS &amp; ICB Navy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8FB59E-3D64-AB71-B9BD-BE8B036885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87" y="2660520"/>
            <a:ext cx="10454539" cy="1481174"/>
          </a:xfrm>
          <a:prstGeom prst="rect">
            <a:avLst/>
          </a:prstGeom>
        </p:spPr>
        <p:txBody>
          <a:bodyPr/>
          <a:lstStyle>
            <a:lvl1pPr>
              <a:defRPr sz="4800" b="1" i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58788" y="4237188"/>
            <a:ext cx="7959725" cy="48381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Subtitle Text</a:t>
            </a:r>
          </a:p>
        </p:txBody>
      </p:sp>
    </p:spTree>
    <p:extLst>
      <p:ext uri="{BB962C8B-B14F-4D97-AF65-F5344CB8AC3E}">
        <p14:creationId xmlns:p14="http://schemas.microsoft.com/office/powerpoint/2010/main" val="42768852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ICS &amp; ICB Blu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13461D-1CB3-EAEA-8800-3EE7AD0683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88" y="2660520"/>
            <a:ext cx="10701791" cy="1481174"/>
          </a:xfrm>
          <a:prstGeom prst="rect">
            <a:avLst/>
          </a:prstGeom>
        </p:spPr>
        <p:txBody>
          <a:bodyPr/>
          <a:lstStyle>
            <a:lvl1pPr>
              <a:defRPr sz="4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add title</a:t>
            </a:r>
            <a:endParaRPr lang="en-US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58788" y="4237188"/>
            <a:ext cx="7959725" cy="48381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Subtitle Text</a:t>
            </a:r>
          </a:p>
        </p:txBody>
      </p:sp>
    </p:spTree>
    <p:extLst>
      <p:ext uri="{BB962C8B-B14F-4D97-AF65-F5344CB8AC3E}">
        <p14:creationId xmlns:p14="http://schemas.microsoft.com/office/powerpoint/2010/main" val="36600429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ICS &amp; ICB White Blu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9D5779-3896-3A74-6BF0-2C5F477641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88" y="2660520"/>
            <a:ext cx="9444491" cy="1481174"/>
          </a:xfrm>
          <a:prstGeom prst="rect">
            <a:avLst/>
          </a:prstGeom>
        </p:spPr>
        <p:txBody>
          <a:bodyPr/>
          <a:lstStyle>
            <a:lvl1pPr>
              <a:defRPr sz="48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add title</a:t>
            </a:r>
            <a:endParaRPr lang="en-US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58788" y="4237188"/>
            <a:ext cx="7959725" cy="48381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Subtitle Text</a:t>
            </a:r>
          </a:p>
        </p:txBody>
      </p:sp>
    </p:spTree>
    <p:extLst>
      <p:ext uri="{BB962C8B-B14F-4D97-AF65-F5344CB8AC3E}">
        <p14:creationId xmlns:p14="http://schemas.microsoft.com/office/powerpoint/2010/main" val="2238445471"/>
      </p:ext>
    </p:extLst>
  </p:cSld>
  <p:clrMapOvr>
    <a:masterClrMapping/>
  </p:clrMapOvr>
  <p:transition spd="slow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S ICB One statement whit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AAE43DE-0F3F-BD25-D1F0-012BB65934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04377" y="2422671"/>
            <a:ext cx="7369175" cy="3398463"/>
          </a:xfrm>
          <a:prstGeom prst="rect">
            <a:avLst/>
          </a:prstGeom>
        </p:spPr>
        <p:txBody>
          <a:bodyPr/>
          <a:lstStyle>
            <a:lvl1pPr algn="ctr">
              <a:defRPr sz="60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add one statement tex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29485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S ICB One statement blu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3ED437-B7E1-4E10-3CF3-0AE29DF8AE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04378" y="2439701"/>
            <a:ext cx="7369175" cy="2833007"/>
          </a:xfrm>
          <a:prstGeom prst="rect">
            <a:avLst/>
          </a:prstGeom>
        </p:spPr>
        <p:txBody>
          <a:bodyPr/>
          <a:lstStyle>
            <a:lvl1pPr algn="ctr">
              <a:defRPr sz="6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add one statement tex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06568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S ICB Content 1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030C47FC-1E0F-EDC4-2590-50C1396E4B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84783" y="563400"/>
            <a:ext cx="6957391" cy="662782"/>
          </a:xfrm>
          <a:prstGeom prst="rect">
            <a:avLst/>
          </a:prstGeom>
        </p:spPr>
        <p:txBody>
          <a:bodyPr vert="horz" anchor="ctr"/>
          <a:lstStyle>
            <a:lvl1pPr algn="ctr">
              <a:defRPr sz="2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D6D2C773-E0BE-F02B-07C3-F2553C3C1A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3255" y="1389062"/>
            <a:ext cx="11336911" cy="4905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74D8D71-29FA-CB26-D0F8-A34D4BB1F1E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C23DAE3-29EA-6B48-8B9F-DAC09DE37D5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D13BCDC-590E-6731-BB81-84D984794E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245752" y="6524426"/>
            <a:ext cx="9826626" cy="27699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l"/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laborative </a:t>
            </a:r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ing </a:t>
            </a:r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lusive </a:t>
            </a:r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ovative</a:t>
            </a:r>
          </a:p>
        </p:txBody>
      </p:sp>
      <p:graphicFrame>
        <p:nvGraphicFramePr>
          <p:cNvPr id="4" name="Object 2">
            <a:extLst>
              <a:ext uri="{FF2B5EF4-FFF2-40B4-BE49-F238E27FC236}">
                <a16:creationId xmlns:a16="http://schemas.microsoft.com/office/drawing/2014/main" id="{7ED7ED4D-AF16-1E82-D9C6-C8D27C639E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97020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03D1637B-7BA6-6AC8-D726-2976D92C21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440488"/>
            <a:ext cx="12192000" cy="427037"/>
          </a:xfrm>
          <a:prstGeom prst="rect">
            <a:avLst/>
          </a:prstGeom>
          <a:solidFill>
            <a:srgbClr val="E5F6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B073C41-A60C-1320-C006-84350D30AD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245752" y="6524426"/>
            <a:ext cx="9826626" cy="27699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l"/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laborative </a:t>
            </a:r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ing </a:t>
            </a:r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lusive </a:t>
            </a:r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ovativ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4756B42-20B0-AF70-2A46-6473C392AEEF}"/>
              </a:ext>
            </a:extLst>
          </p:cNvPr>
          <p:cNvSpPr txBox="1">
            <a:spLocks/>
          </p:cNvSpPr>
          <p:nvPr userDrawn="1"/>
        </p:nvSpPr>
        <p:spPr>
          <a:xfrm>
            <a:off x="10157928" y="6472238"/>
            <a:ext cx="1695450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algn="r" rtl="0" eaLnBrk="1" fontAlgn="auto" hangingPunct="1">
              <a:spcBef>
                <a:spcPts val="0"/>
              </a:spcBef>
              <a:spcAft>
                <a:spcPts val="0"/>
              </a:spcAft>
              <a:defRPr sz="1200" b="1" kern="1200" smtClean="0">
                <a:solidFill>
                  <a:srgbClr val="013C5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9C23DAE3-29EA-6B48-8B9F-DAC09DE37D5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68180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lue OHSEL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458788" y="2660520"/>
            <a:ext cx="9426575" cy="148117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800" b="1">
                <a:solidFill>
                  <a:srgbClr val="39BBE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458788" y="4237188"/>
            <a:ext cx="7959725" cy="48381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05833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CS ICB Content 2 Column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030C47FC-1E0F-EDC4-2590-50C1396E4B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84783" y="563400"/>
            <a:ext cx="6957391" cy="662782"/>
          </a:xfrm>
          <a:prstGeom prst="rect">
            <a:avLst/>
          </a:prstGeom>
        </p:spPr>
        <p:txBody>
          <a:bodyPr vert="horz" anchor="ctr"/>
          <a:lstStyle>
            <a:lvl1pPr algn="ctr">
              <a:defRPr sz="2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B217D67-04EA-77D8-64D2-6C77993FD94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3255" y="1389062"/>
            <a:ext cx="5450439" cy="4905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427F87F8-44B9-7B53-1F9E-5F56CA4F9694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7688" y="1389062"/>
            <a:ext cx="5450439" cy="4905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516BE690-FADD-B158-772F-C87DD25C681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C23DAE3-29EA-6B48-8B9F-DAC09DE37D5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D298867-65DF-00EE-15B9-DFE92E5B56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245752" y="6524426"/>
            <a:ext cx="9826626" cy="27699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l"/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laborative </a:t>
            </a:r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ing </a:t>
            </a:r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lusive </a:t>
            </a:r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ovative</a:t>
            </a:r>
          </a:p>
        </p:txBody>
      </p:sp>
      <p:graphicFrame>
        <p:nvGraphicFramePr>
          <p:cNvPr id="4" name="Object 2">
            <a:extLst>
              <a:ext uri="{FF2B5EF4-FFF2-40B4-BE49-F238E27FC236}">
                <a16:creationId xmlns:a16="http://schemas.microsoft.com/office/drawing/2014/main" id="{7ED7ED4D-AF16-1E82-D9C6-C8D27C639E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20339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35FE0F5F-C0B4-673F-4F95-FFEC713909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440488"/>
            <a:ext cx="12192000" cy="427037"/>
          </a:xfrm>
          <a:prstGeom prst="rect">
            <a:avLst/>
          </a:prstGeom>
          <a:solidFill>
            <a:srgbClr val="E5F6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CD49DDB-D143-BDF3-ACD7-7067E59FED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245752" y="6524426"/>
            <a:ext cx="9826626" cy="27699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l"/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laborative </a:t>
            </a:r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ing </a:t>
            </a:r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lusive </a:t>
            </a:r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ovative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FBB7CAC0-82E7-052C-2A6D-8106F856D752}"/>
              </a:ext>
            </a:extLst>
          </p:cNvPr>
          <p:cNvSpPr txBox="1">
            <a:spLocks/>
          </p:cNvSpPr>
          <p:nvPr userDrawn="1"/>
        </p:nvSpPr>
        <p:spPr>
          <a:xfrm>
            <a:off x="10157928" y="6472238"/>
            <a:ext cx="1695450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algn="r" rtl="0" eaLnBrk="1" fontAlgn="auto" hangingPunct="1">
              <a:spcBef>
                <a:spcPts val="0"/>
              </a:spcBef>
              <a:spcAft>
                <a:spcPts val="0"/>
              </a:spcAft>
              <a:defRPr sz="1200" b="1" kern="1200" smtClean="0">
                <a:solidFill>
                  <a:srgbClr val="013C5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9C23DAE3-29EA-6B48-8B9F-DAC09DE37D5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196832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S ICB Content 1 Text 1 Imag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47C18DA6-E9B5-361E-F741-94343649C1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84783" y="563400"/>
            <a:ext cx="6957391" cy="662782"/>
          </a:xfrm>
          <a:prstGeom prst="rect">
            <a:avLst/>
          </a:prstGeom>
        </p:spPr>
        <p:txBody>
          <a:bodyPr vert="horz" anchor="ctr"/>
          <a:lstStyle>
            <a:lvl1pPr algn="ctr">
              <a:defRPr sz="2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152B451-A663-17E7-82E1-CECEBD07E2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3255" y="1389062"/>
            <a:ext cx="5450439" cy="4905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95486FC7-6667-2A7A-7EDB-C58350BD499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1" y="1389063"/>
            <a:ext cx="5584166" cy="4899025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7" name="Slide Number Placeholder 6">
            <a:extLst>
              <a:ext uri="{FF2B5EF4-FFF2-40B4-BE49-F238E27FC236}">
                <a16:creationId xmlns:a16="http://schemas.microsoft.com/office/drawing/2014/main" id="{92E3923A-D833-0E5F-69A4-69795E3702EB}"/>
              </a:ext>
            </a:extLst>
          </p:cNvPr>
          <p:cNvSpPr>
            <a:spLocks noGrp="1"/>
          </p:cNvSpPr>
          <p:nvPr userDrawn="1"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C5B21422-1590-694D-A969-F6789BD7D25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aphicFrame>
        <p:nvGraphicFramePr>
          <p:cNvPr id="4" name="Object 2">
            <a:extLst>
              <a:ext uri="{FF2B5EF4-FFF2-40B4-BE49-F238E27FC236}">
                <a16:creationId xmlns:a16="http://schemas.microsoft.com/office/drawing/2014/main" id="{E4038FD0-2570-F82C-50C4-C27E118E5F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58585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>
                        <a:extLst>
                          <a:ext uri="{FF2B5EF4-FFF2-40B4-BE49-F238E27FC236}">
                            <a16:creationId xmlns:a16="http://schemas.microsoft.com/office/drawing/2014/main" id="{E4038FD0-2570-F82C-50C4-C27E118E5F7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F5FCA270-7ECD-F80B-BB34-93B9F33379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6440488"/>
            <a:ext cx="12192000" cy="427037"/>
          </a:xfrm>
          <a:prstGeom prst="rect">
            <a:avLst/>
          </a:prstGeom>
          <a:solidFill>
            <a:srgbClr val="E5F6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EF2FA9E-98C6-A38D-1405-519D694169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245752" y="6524426"/>
            <a:ext cx="9826626" cy="27699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l"/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laborative </a:t>
            </a:r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ing </a:t>
            </a:r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lusive </a:t>
            </a:r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ovative</a:t>
            </a:r>
          </a:p>
        </p:txBody>
      </p:sp>
      <p:sp>
        <p:nvSpPr>
          <p:cNvPr id="2" name="Slide Number Placeholder 6">
            <a:extLst>
              <a:ext uri="{FF2B5EF4-FFF2-40B4-BE49-F238E27FC236}">
                <a16:creationId xmlns:a16="http://schemas.microsoft.com/office/drawing/2014/main" id="{CCA74902-F015-EC66-7F1C-2F490A01CC90}"/>
              </a:ext>
            </a:extLst>
          </p:cNvPr>
          <p:cNvSpPr txBox="1">
            <a:spLocks/>
          </p:cNvSpPr>
          <p:nvPr userDrawn="1"/>
        </p:nvSpPr>
        <p:spPr>
          <a:xfrm>
            <a:off x="10157928" y="6472238"/>
            <a:ext cx="1695450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algn="r" rtl="0" eaLnBrk="1" fontAlgn="auto" hangingPunct="1">
              <a:spcBef>
                <a:spcPts val="0"/>
              </a:spcBef>
              <a:spcAft>
                <a:spcPts val="0"/>
              </a:spcAft>
              <a:defRPr sz="1200" b="1" kern="1200" smtClean="0">
                <a:solidFill>
                  <a:srgbClr val="013C5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9C23DAE3-29EA-6B48-8B9F-DAC09DE37D5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41694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CS ICB Content 3 Column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030C47FC-1E0F-EDC4-2590-50C1396E4B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84783" y="563400"/>
            <a:ext cx="6957391" cy="662782"/>
          </a:xfrm>
          <a:prstGeom prst="rect">
            <a:avLst/>
          </a:prstGeom>
        </p:spPr>
        <p:txBody>
          <a:bodyPr vert="horz" anchor="ctr"/>
          <a:lstStyle>
            <a:lvl1pPr algn="ctr">
              <a:defRPr sz="2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ACF68E9D-D127-C2F4-041E-FAECC48D0A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3255" y="1389062"/>
            <a:ext cx="3566347" cy="4905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932EE4A-D411-5C64-6E88-BFCF2F77EA3F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226765" y="1389062"/>
            <a:ext cx="3566347" cy="4905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/>
              <a:t>Click to edit text styles</a:t>
            </a:r>
          </a:p>
          <a:p>
            <a:pPr lvl="1"/>
            <a:r>
              <a:rPr lang="en-GB" noProof="0"/>
              <a:t>Second Master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47914CE5-1392-08F2-CFC2-CB2A57CE868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8110276" y="1389062"/>
            <a:ext cx="3566347" cy="4905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C7B47F99-C1B3-D93C-735F-B600B68A3D3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C23DAE3-29EA-6B48-8B9F-DAC09DE37D5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C5924C3-6330-4751-0ADB-9A45AD8D74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245752" y="6524426"/>
            <a:ext cx="9826626" cy="27699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l"/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laborative </a:t>
            </a:r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ing </a:t>
            </a:r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lusive </a:t>
            </a:r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ovative</a:t>
            </a:r>
          </a:p>
        </p:txBody>
      </p:sp>
      <p:graphicFrame>
        <p:nvGraphicFramePr>
          <p:cNvPr id="4" name="Object 2">
            <a:extLst>
              <a:ext uri="{FF2B5EF4-FFF2-40B4-BE49-F238E27FC236}">
                <a16:creationId xmlns:a16="http://schemas.microsoft.com/office/drawing/2014/main" id="{7ED7ED4D-AF16-1E82-D9C6-C8D27C639E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41416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5F51A548-FC0C-C2A0-DCE0-9EF5C06639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440488"/>
            <a:ext cx="12192000" cy="427037"/>
          </a:xfrm>
          <a:prstGeom prst="rect">
            <a:avLst/>
          </a:prstGeom>
          <a:solidFill>
            <a:srgbClr val="E5F6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D9FEF1F-EA73-55E4-A6EB-5B0B0D6BCD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245752" y="6519977"/>
            <a:ext cx="9826626" cy="27699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l"/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laborative </a:t>
            </a:r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ing </a:t>
            </a:r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lusive </a:t>
            </a:r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ovative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99BAA373-0ED6-2843-341A-3F3BBF610E4C}"/>
              </a:ext>
            </a:extLst>
          </p:cNvPr>
          <p:cNvSpPr txBox="1">
            <a:spLocks/>
          </p:cNvSpPr>
          <p:nvPr userDrawn="1"/>
        </p:nvSpPr>
        <p:spPr>
          <a:xfrm>
            <a:off x="10157928" y="6472238"/>
            <a:ext cx="1695450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algn="r" rtl="0" eaLnBrk="1" fontAlgn="auto" hangingPunct="1">
              <a:spcBef>
                <a:spcPts val="0"/>
              </a:spcBef>
              <a:spcAft>
                <a:spcPts val="0"/>
              </a:spcAft>
              <a:defRPr sz="1200" b="1" kern="1200" smtClean="0">
                <a:solidFill>
                  <a:srgbClr val="013C5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9C23DAE3-29EA-6B48-8B9F-DAC09DE37D5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8943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CS ICB Content 2 Column 1 Imag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030C47FC-1E0F-EDC4-2590-50C1396E4B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84783" y="563400"/>
            <a:ext cx="6957391" cy="662782"/>
          </a:xfrm>
          <a:prstGeom prst="rect">
            <a:avLst/>
          </a:prstGeom>
        </p:spPr>
        <p:txBody>
          <a:bodyPr vert="horz" anchor="ctr"/>
          <a:lstStyle>
            <a:lvl1pPr algn="ctr">
              <a:defRPr sz="2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8D445B3-DF2B-19C3-0879-C1F8D0DADC7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3255" y="1389062"/>
            <a:ext cx="3566347" cy="4905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56CED33-6196-B73B-247B-BA5F1B443886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4226765" y="1389062"/>
            <a:ext cx="3566347" cy="4905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B917EABA-117D-EF4B-12E0-DF491909A0E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10275" y="1389063"/>
            <a:ext cx="3569892" cy="4899025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BF5A65FC-1AA1-8517-EB4E-36C0C7B8DCA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C23DAE3-29EA-6B48-8B9F-DAC09DE37D5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aphicFrame>
        <p:nvGraphicFramePr>
          <p:cNvPr id="4" name="Object 2">
            <a:extLst>
              <a:ext uri="{FF2B5EF4-FFF2-40B4-BE49-F238E27FC236}">
                <a16:creationId xmlns:a16="http://schemas.microsoft.com/office/drawing/2014/main" id="{7ED7ED4D-AF16-1E82-D9C6-C8D27C639E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00876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158C440D-0BC0-5608-A4D5-1A3A385094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440488"/>
            <a:ext cx="12192000" cy="427037"/>
          </a:xfrm>
          <a:prstGeom prst="rect">
            <a:avLst/>
          </a:prstGeom>
          <a:solidFill>
            <a:srgbClr val="E5F6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97E366A-0678-22C2-2EDA-5332AA5742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245752" y="6524426"/>
            <a:ext cx="9826626" cy="27699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l"/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laborative </a:t>
            </a:r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ing </a:t>
            </a:r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lusive </a:t>
            </a:r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ovative</a:t>
            </a:r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400E021-83B5-0EA4-B231-3C47D1E0863C}"/>
              </a:ext>
            </a:extLst>
          </p:cNvPr>
          <p:cNvSpPr txBox="1">
            <a:spLocks/>
          </p:cNvSpPr>
          <p:nvPr userDrawn="1"/>
        </p:nvSpPr>
        <p:spPr>
          <a:xfrm>
            <a:off x="10157928" y="6472238"/>
            <a:ext cx="1695450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algn="r" rtl="0" eaLnBrk="1" fontAlgn="auto" hangingPunct="1">
              <a:spcBef>
                <a:spcPts val="0"/>
              </a:spcBef>
              <a:spcAft>
                <a:spcPts val="0"/>
              </a:spcAft>
              <a:defRPr sz="1200" b="1" kern="1200" smtClean="0">
                <a:solidFill>
                  <a:srgbClr val="013C5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9C23DAE3-29EA-6B48-8B9F-DAC09DE37D5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052702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e ICS ICB Content 1 Column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05AB4E90-40AD-B0CB-9424-ADB132F75E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84783" y="563400"/>
            <a:ext cx="6957391" cy="662782"/>
          </a:xfrm>
          <a:prstGeom prst="rect">
            <a:avLst/>
          </a:prstGeom>
        </p:spPr>
        <p:txBody>
          <a:bodyPr vert="horz" anchor="ctr"/>
          <a:lstStyle>
            <a:lvl1pPr algn="ctr">
              <a:defRPr sz="2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2FE554E-0A4D-F5DF-3BB1-5AE3CADBA7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3255" y="1389062"/>
            <a:ext cx="11336911" cy="4905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74D8D71-29FA-CB26-D0F8-A34D4BB1F1E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C23DAE3-29EA-6B48-8B9F-DAC09DE37D5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8421E9E-5B8E-8B6F-6BAD-A35D0C5DD6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245752" y="6524426"/>
            <a:ext cx="9826626" cy="27699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l"/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laborative </a:t>
            </a:r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ing </a:t>
            </a:r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lusive </a:t>
            </a:r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ovative</a:t>
            </a:r>
          </a:p>
        </p:txBody>
      </p:sp>
      <p:graphicFrame>
        <p:nvGraphicFramePr>
          <p:cNvPr id="4" name="Object 2">
            <a:extLst>
              <a:ext uri="{FF2B5EF4-FFF2-40B4-BE49-F238E27FC236}">
                <a16:creationId xmlns:a16="http://schemas.microsoft.com/office/drawing/2014/main" id="{7ED7ED4D-AF16-1E82-D9C6-C8D27C639E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22405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0185868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ICS ICB Content 2 Column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05AB4E90-40AD-B0CB-9424-ADB132F75E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84783" y="563400"/>
            <a:ext cx="6957391" cy="662782"/>
          </a:xfrm>
          <a:prstGeom prst="rect">
            <a:avLst/>
          </a:prstGeom>
        </p:spPr>
        <p:txBody>
          <a:bodyPr vert="horz" anchor="ctr"/>
          <a:lstStyle>
            <a:lvl1pPr algn="ctr">
              <a:defRPr sz="2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9BAC5F42-4A97-CBC7-8400-47A3E823FB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3255" y="1389062"/>
            <a:ext cx="5450439" cy="4905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C809957-7B90-DE75-4E9D-4578F505257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7688" y="1389062"/>
            <a:ext cx="5450439" cy="4905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74D8D71-29FA-CB26-D0F8-A34D4BB1F1E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C23DAE3-29EA-6B48-8B9F-DAC09DE37D5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aphicFrame>
        <p:nvGraphicFramePr>
          <p:cNvPr id="4" name="Object 2">
            <a:extLst>
              <a:ext uri="{FF2B5EF4-FFF2-40B4-BE49-F238E27FC236}">
                <a16:creationId xmlns:a16="http://schemas.microsoft.com/office/drawing/2014/main" id="{7ED7ED4D-AF16-1E82-D9C6-C8D27C639E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62976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E05F6DF7-1733-17BB-53E7-D689AB9608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245752" y="6524426"/>
            <a:ext cx="9826626" cy="27699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l"/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laborative </a:t>
            </a:r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ing </a:t>
            </a:r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lusive </a:t>
            </a:r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ovative</a:t>
            </a:r>
          </a:p>
        </p:txBody>
      </p:sp>
    </p:spTree>
    <p:extLst>
      <p:ext uri="{BB962C8B-B14F-4D97-AF65-F5344CB8AC3E}">
        <p14:creationId xmlns:p14="http://schemas.microsoft.com/office/powerpoint/2010/main" val="349633744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ICS ICB Content 1 Text 1 Imag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05AB4E90-40AD-B0CB-9424-ADB132F75E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84783" y="563400"/>
            <a:ext cx="6957391" cy="662782"/>
          </a:xfrm>
          <a:prstGeom prst="rect">
            <a:avLst/>
          </a:prstGeom>
        </p:spPr>
        <p:txBody>
          <a:bodyPr vert="horz" anchor="ctr"/>
          <a:lstStyle>
            <a:lvl1pPr algn="ctr">
              <a:defRPr sz="2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6DC1CD4-DB76-A583-91EA-DCF638A5BE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3255" y="1389062"/>
            <a:ext cx="5450439" cy="4905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F973A942-B8F9-561E-C783-94B971E8FAB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1" y="1389063"/>
            <a:ext cx="5584166" cy="4899025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74D8D71-29FA-CB26-D0F8-A34D4BB1F1E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C23DAE3-29EA-6B48-8B9F-DAC09DE37D5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aphicFrame>
        <p:nvGraphicFramePr>
          <p:cNvPr id="4" name="Object 2">
            <a:extLst>
              <a:ext uri="{FF2B5EF4-FFF2-40B4-BE49-F238E27FC236}">
                <a16:creationId xmlns:a16="http://schemas.microsoft.com/office/drawing/2014/main" id="{7ED7ED4D-AF16-1E82-D9C6-C8D27C639E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94336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D12734A8-28F5-582D-AE1A-F19F84C6D5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245752" y="6524426"/>
            <a:ext cx="9826626" cy="27699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l"/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laborative </a:t>
            </a:r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ing </a:t>
            </a:r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lusive </a:t>
            </a:r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ovative</a:t>
            </a:r>
          </a:p>
        </p:txBody>
      </p:sp>
    </p:spTree>
    <p:extLst>
      <p:ext uri="{BB962C8B-B14F-4D97-AF65-F5344CB8AC3E}">
        <p14:creationId xmlns:p14="http://schemas.microsoft.com/office/powerpoint/2010/main" val="381799294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ICS ICB Content 3 Column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05AB4E90-40AD-B0CB-9424-ADB132F75E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84783" y="563400"/>
            <a:ext cx="6957391" cy="662782"/>
          </a:xfrm>
          <a:prstGeom prst="rect">
            <a:avLst/>
          </a:prstGeom>
        </p:spPr>
        <p:txBody>
          <a:bodyPr vert="horz" anchor="ctr"/>
          <a:lstStyle>
            <a:lvl1pPr algn="ctr">
              <a:defRPr sz="2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641780B8-E144-B95C-B6BF-B1C82F2E76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3255" y="1389062"/>
            <a:ext cx="3566347" cy="4905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2B7CB13-23EC-A03A-003B-83C33788BE6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226765" y="1389062"/>
            <a:ext cx="3566347" cy="4905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/>
              <a:t>Click to edit text styles</a:t>
            </a:r>
          </a:p>
          <a:p>
            <a:pPr lvl="1"/>
            <a:r>
              <a:rPr lang="en-GB" noProof="0"/>
              <a:t>Second Master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4972FF2-EDFF-2109-08DA-C826E76C1EE7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8110276" y="1389062"/>
            <a:ext cx="3566347" cy="4905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74D8D71-29FA-CB26-D0F8-A34D4BB1F1E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C23DAE3-29EA-6B48-8B9F-DAC09DE37D5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aphicFrame>
        <p:nvGraphicFramePr>
          <p:cNvPr id="4" name="Object 2">
            <a:extLst>
              <a:ext uri="{FF2B5EF4-FFF2-40B4-BE49-F238E27FC236}">
                <a16:creationId xmlns:a16="http://schemas.microsoft.com/office/drawing/2014/main" id="{7ED7ED4D-AF16-1E82-D9C6-C8D27C639E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75070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B0722A2F-037B-B001-DDDC-C7D0FC67E7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245752" y="6524426"/>
            <a:ext cx="9826626" cy="27699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l"/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laborative </a:t>
            </a:r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ing </a:t>
            </a:r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lusive </a:t>
            </a:r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ovative</a:t>
            </a:r>
          </a:p>
        </p:txBody>
      </p:sp>
    </p:spTree>
    <p:extLst>
      <p:ext uri="{BB962C8B-B14F-4D97-AF65-F5344CB8AC3E}">
        <p14:creationId xmlns:p14="http://schemas.microsoft.com/office/powerpoint/2010/main" val="419064547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ICS ICB Content 2 Text 1 Imag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05AB4E90-40AD-B0CB-9424-ADB132F75E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84783" y="563400"/>
            <a:ext cx="6957391" cy="662782"/>
          </a:xfrm>
          <a:prstGeom prst="rect">
            <a:avLst/>
          </a:prstGeom>
        </p:spPr>
        <p:txBody>
          <a:bodyPr vert="horz" anchor="ctr"/>
          <a:lstStyle>
            <a:lvl1pPr algn="ctr">
              <a:defRPr sz="2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C25C3FA-0B3A-BCE6-BC5E-01FC389221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3255" y="1389062"/>
            <a:ext cx="3566347" cy="4905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A246871A-CEB4-C7C2-3A07-E07622B090E6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226765" y="1389062"/>
            <a:ext cx="3566347" cy="4905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/>
              <a:t>Click to edit text styles</a:t>
            </a:r>
          </a:p>
          <a:p>
            <a:pPr lvl="1"/>
            <a:r>
              <a:rPr lang="en-GB" noProof="0"/>
              <a:t>Second Master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FDA8E950-3405-55E5-15CF-F45AF15A070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10275" y="1389063"/>
            <a:ext cx="3569892" cy="4899025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74D8D71-29FA-CB26-D0F8-A34D4BB1F1E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C23DAE3-29EA-6B48-8B9F-DAC09DE37D5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aphicFrame>
        <p:nvGraphicFramePr>
          <p:cNvPr id="4" name="Object 2">
            <a:extLst>
              <a:ext uri="{FF2B5EF4-FFF2-40B4-BE49-F238E27FC236}">
                <a16:creationId xmlns:a16="http://schemas.microsoft.com/office/drawing/2014/main" id="{7ED7ED4D-AF16-1E82-D9C6-C8D27C639E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3779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36EF6A5A-4DB0-9B69-3AE2-E8D6C7A51C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245752" y="6524426"/>
            <a:ext cx="9826626" cy="27699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l"/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laborative </a:t>
            </a:r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ing </a:t>
            </a:r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lusive </a:t>
            </a:r>
            <a:r>
              <a:rPr lang="en-US" sz="1200" b="0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We are </a:t>
            </a:r>
            <a:r>
              <a:rPr lang="en-US" sz="1200" b="1" i="0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ovative</a:t>
            </a:r>
          </a:p>
        </p:txBody>
      </p:sp>
    </p:spTree>
    <p:extLst>
      <p:ext uri="{BB962C8B-B14F-4D97-AF65-F5344CB8AC3E}">
        <p14:creationId xmlns:p14="http://schemas.microsoft.com/office/powerpoint/2010/main" val="273080607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9D366D49-6343-267C-4CB5-33FBA4035E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wdDnDiag">
            <a:fgClr>
              <a:schemeClr val="accent2"/>
            </a:fgClr>
            <a:bgClr>
              <a:schemeClr val="accent1"/>
            </a:bgClr>
          </a:patt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noProof="0"/>
              <a:t>Insert Divider Full Screen Image</a:t>
            </a:r>
          </a:p>
        </p:txBody>
      </p:sp>
    </p:spTree>
    <p:extLst>
      <p:ext uri="{BB962C8B-B14F-4D97-AF65-F5344CB8AC3E}">
        <p14:creationId xmlns:p14="http://schemas.microsoft.com/office/powerpoint/2010/main" val="12994382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hit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458788" y="2660520"/>
            <a:ext cx="9426575" cy="148117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458788" y="4237188"/>
            <a:ext cx="7959725" cy="48381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497737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Divider white tex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D30116-17F8-E77C-33BB-C39EFA31F9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1412" y="2555421"/>
            <a:ext cx="7369175" cy="3151414"/>
          </a:xfrm>
          <a:prstGeom prst="rect">
            <a:avLst/>
          </a:prstGeom>
        </p:spPr>
        <p:txBody>
          <a:bodyPr/>
          <a:lstStyle>
            <a:lvl1pPr algn="ctr">
              <a:defRPr sz="6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Statement Over Divider Imag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3A4DF50-959B-A571-3181-4BA91B2F18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wdDnDiag">
            <a:fgClr>
              <a:schemeClr val="accent2"/>
            </a:fgClr>
            <a:bgClr>
              <a:schemeClr val="accent1"/>
            </a:bgClr>
          </a:patt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3215875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Whit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458788" y="2660520"/>
            <a:ext cx="9426575" cy="148117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458788" y="4237188"/>
            <a:ext cx="7959725" cy="48381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1372183"/>
      </p:ext>
    </p:extLst>
  </p:cSld>
  <p:clrMapOvr>
    <a:masterClrMapping/>
  </p:clrMapOvr>
  <p:transition spd="slow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7ED7ED4D-AF16-1E82-D9C6-C8D27C639E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74D8D71-29FA-CB26-D0F8-A34D4BB1F1E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C23DAE3-29EA-6B48-8B9F-DAC09DE37D5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94F00F9-FD56-EDDE-6984-E141C4954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013" y="563400"/>
            <a:ext cx="7994029" cy="662782"/>
          </a:xfrm>
          <a:prstGeom prst="rect">
            <a:avLst/>
          </a:prstGeom>
        </p:spPr>
        <p:txBody>
          <a:bodyPr vert="horz" anchor="ctr"/>
          <a:lstStyle>
            <a:lvl1pPr algn="l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583467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7ED7ED4D-AF16-1E82-D9C6-C8D27C639E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74D8D71-29FA-CB26-D0F8-A34D4BB1F1E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C23DAE3-29EA-6B48-8B9F-DAC09DE37D5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A30205A-CB70-50C1-E147-5EAE15B0DC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306" y="585434"/>
            <a:ext cx="7524521" cy="662782"/>
          </a:xfrm>
          <a:prstGeom prst="rect">
            <a:avLst/>
          </a:prstGeom>
        </p:spPr>
        <p:txBody>
          <a:bodyPr vert="horz" anchor="ctr"/>
          <a:lstStyle>
            <a:lvl1pPr algn="ctr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990341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7ED7ED4D-AF16-1E82-D9C6-C8D27C639E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74D8D71-29FA-CB26-D0F8-A34D4BB1F1E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C23DAE3-29EA-6B48-8B9F-DAC09DE37D5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D7DDF92-55D2-78E4-26D7-7AA8751BE2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306" y="585434"/>
            <a:ext cx="7524521" cy="662782"/>
          </a:xfrm>
          <a:prstGeom prst="rect">
            <a:avLst/>
          </a:prstGeom>
        </p:spPr>
        <p:txBody>
          <a:bodyPr vert="horz" anchor="ctr"/>
          <a:lstStyle>
            <a:lvl1pPr algn="ctr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639192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7ED7ED4D-AF16-1E82-D9C6-C8D27C639E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74D8D71-29FA-CB26-D0F8-A34D4BB1F1E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C23DAE3-29EA-6B48-8B9F-DAC09DE37D5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B72277B-7A2D-22ED-C8AB-644257FA00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306" y="585434"/>
            <a:ext cx="7524521" cy="662782"/>
          </a:xfrm>
          <a:prstGeom prst="rect">
            <a:avLst/>
          </a:prstGeom>
        </p:spPr>
        <p:txBody>
          <a:bodyPr vert="horz" anchor="ctr"/>
          <a:lstStyle>
            <a:lvl1pPr algn="ctr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42156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7ED7ED4D-AF16-1E82-D9C6-C8D27C639E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74D8D71-29FA-CB26-D0F8-A34D4BB1F1E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C23DAE3-29EA-6B48-8B9F-DAC09DE37D5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61E7A0A-806F-0072-E9CF-DB48F2F609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306" y="585434"/>
            <a:ext cx="7524521" cy="662782"/>
          </a:xfrm>
          <a:prstGeom prst="rect">
            <a:avLst/>
          </a:prstGeom>
        </p:spPr>
        <p:txBody>
          <a:bodyPr vert="horz" anchor="ctr"/>
          <a:lstStyle>
            <a:lvl1pPr algn="ctr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440402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19" Type="http://schemas.openxmlformats.org/officeDocument/2006/relationships/tags" Target="../tags/tag10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>
            <a:extLst>
              <a:ext uri="{FF2B5EF4-FFF2-40B4-BE49-F238E27FC236}">
                <a16:creationId xmlns:a16="http://schemas.microsoft.com/office/drawing/2014/main" id="{68FF4BEC-E65A-6F08-D64C-F02B55D18DD7}"/>
              </a:ext>
            </a:extLst>
          </p:cNvPr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8100" imgH="38100" progId="TCLayout.ActiveDocument.1">
                  <p:embed/>
                </p:oleObj>
              </mc:Choice>
              <mc:Fallback>
                <p:oleObj name="think-cell Slide" r:id="rId16" imgW="38100" imgH="38100" progId="TCLayout.ActiveDocument.1">
                  <p:embed/>
                  <p:pic>
                    <p:nvPicPr>
                      <p:cNvPr id="1026" name="Object 1" hidden="1">
                        <a:extLst>
                          <a:ext uri="{FF2B5EF4-FFF2-40B4-BE49-F238E27FC236}">
                            <a16:creationId xmlns:a16="http://schemas.microsoft.com/office/drawing/2014/main" id="{68FF4BEC-E65A-6F08-D64C-F02B55D18DD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93" r:id="rId6"/>
    <p:sldLayoutId id="2147483695" r:id="rId7"/>
    <p:sldLayoutId id="2147483694" r:id="rId8"/>
    <p:sldLayoutId id="2147483696" r:id="rId9"/>
    <p:sldLayoutId id="2147483689" r:id="rId10"/>
    <p:sldLayoutId id="2147483692" r:id="rId11"/>
    <p:sldLayoutId id="2147483690" r:id="rId12"/>
    <p:sldLayoutId id="2147483691" r:id="rId13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>
            <a:extLst>
              <a:ext uri="{FF2B5EF4-FFF2-40B4-BE49-F238E27FC236}">
                <a16:creationId xmlns:a16="http://schemas.microsoft.com/office/drawing/2014/main" id="{68FF4BEC-E65A-6F08-D64C-F02B55D18DD7}"/>
              </a:ext>
            </a:extLst>
          </p:cNvPr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8100" imgH="38100" progId="TCLayout.ActiveDocument.1">
                  <p:embed/>
                </p:oleObj>
              </mc:Choice>
              <mc:Fallback>
                <p:oleObj name="think-cell Slide" r:id="rId20" imgW="38100" imgH="38100" progId="TCLayout.ActiveDocument.1">
                  <p:embed/>
                  <p:pic>
                    <p:nvPicPr>
                      <p:cNvPr id="1026" name="Object 1" hidden="1">
                        <a:extLst>
                          <a:ext uri="{FF2B5EF4-FFF2-40B4-BE49-F238E27FC236}">
                            <a16:creationId xmlns:a16="http://schemas.microsoft.com/office/drawing/2014/main" id="{68FF4BEC-E65A-6F08-D64C-F02B55D18DD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736010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28" r:id="rId13"/>
    <p:sldLayoutId id="2147483729" r:id="rId14"/>
    <p:sldLayoutId id="2147483730" r:id="rId15"/>
    <p:sldLayoutId id="2147483731" r:id="rId16"/>
    <p:sldLayoutId id="2147483732" r:id="rId17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E147D01-8F02-20EB-1D46-BF84C2DF3E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867" y="372693"/>
            <a:ext cx="7994029" cy="662782"/>
          </a:xfrm>
        </p:spPr>
        <p:txBody>
          <a:bodyPr/>
          <a:lstStyle/>
          <a:p>
            <a:r>
              <a:rPr lang="en-US" sz="1800" dirty="0"/>
              <a:t>Greenwich Pharmacy First Plus Scheme </a:t>
            </a:r>
            <a:br>
              <a:rPr lang="en-US" sz="1800" dirty="0"/>
            </a:br>
            <a:r>
              <a:rPr lang="en-US" sz="1800" dirty="0"/>
              <a:t>Participating Greenwich Pharmacies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D3CF171-2762-ABC2-8F75-369099E881F8}"/>
              </a:ext>
            </a:extLst>
          </p:cNvPr>
          <p:cNvSpPr txBox="1"/>
          <p:nvPr/>
        </p:nvSpPr>
        <p:spPr>
          <a:xfrm>
            <a:off x="3050079" y="1069457"/>
            <a:ext cx="654670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013C5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8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013C5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igned up out of 58 pharmacies in Greenwich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3C34E12A-8922-123F-A478-C5412BF893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9076426"/>
              </p:ext>
            </p:extLst>
          </p:nvPr>
        </p:nvGraphicFramePr>
        <p:xfrm>
          <a:off x="380412" y="1599837"/>
          <a:ext cx="11476626" cy="4959999"/>
        </p:xfrm>
        <a:graphic>
          <a:graphicData uri="http://schemas.openxmlformats.org/drawingml/2006/table">
            <a:tbl>
              <a:tblPr>
                <a:tableStyleId>{22838BEF-8BB2-4498-84A7-C5851F593DF1}</a:tableStyleId>
              </a:tblPr>
              <a:tblGrid>
                <a:gridCol w="3510976">
                  <a:extLst>
                    <a:ext uri="{9D8B030D-6E8A-4147-A177-3AD203B41FA5}">
                      <a16:colId xmlns:a16="http://schemas.microsoft.com/office/drawing/2014/main" val="1908021579"/>
                    </a:ext>
                  </a:extLst>
                </a:gridCol>
                <a:gridCol w="2187019">
                  <a:extLst>
                    <a:ext uri="{9D8B030D-6E8A-4147-A177-3AD203B41FA5}">
                      <a16:colId xmlns:a16="http://schemas.microsoft.com/office/drawing/2014/main" val="2155515067"/>
                    </a:ext>
                  </a:extLst>
                </a:gridCol>
                <a:gridCol w="150829">
                  <a:extLst>
                    <a:ext uri="{9D8B030D-6E8A-4147-A177-3AD203B41FA5}">
                      <a16:colId xmlns:a16="http://schemas.microsoft.com/office/drawing/2014/main" val="2947804319"/>
                    </a:ext>
                  </a:extLst>
                </a:gridCol>
                <a:gridCol w="3442665">
                  <a:extLst>
                    <a:ext uri="{9D8B030D-6E8A-4147-A177-3AD203B41FA5}">
                      <a16:colId xmlns:a16="http://schemas.microsoft.com/office/drawing/2014/main" val="2233244196"/>
                    </a:ext>
                  </a:extLst>
                </a:gridCol>
                <a:gridCol w="2185137">
                  <a:extLst>
                    <a:ext uri="{9D8B030D-6E8A-4147-A177-3AD203B41FA5}">
                      <a16:colId xmlns:a16="http://schemas.microsoft.com/office/drawing/2014/main" val="1997789674"/>
                    </a:ext>
                  </a:extLst>
                </a:gridCol>
              </a:tblGrid>
              <a:tr h="257130"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LTHAM PHARMACY - FXE81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20 8850 1944</a:t>
                      </a:r>
                    </a:p>
                  </a:txBody>
                  <a:tcPr marL="4900" marR="4900" marT="490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ERY PHARMACY - FQW82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20 8850 1138</a:t>
                      </a:r>
                    </a:p>
                  </a:txBody>
                  <a:tcPr marL="4900" marR="4900" marT="490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063596003"/>
                  </a:ext>
                </a:extLst>
              </a:tr>
              <a:tr h="257130"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RRAGE PHARMACY - FRE57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20 8244 6969</a:t>
                      </a:r>
                    </a:p>
                  </a:txBody>
                  <a:tcPr marL="4900" marR="4900" marT="490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 LOGAN - FD551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20 8858 1073</a:t>
                      </a:r>
                    </a:p>
                  </a:txBody>
                  <a:tcPr marL="4900" marR="4900" marT="490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134177584"/>
                  </a:ext>
                </a:extLst>
              </a:tr>
              <a:tr h="257130"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YAL ARSENAL PHARMACY - FW185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20 8331 4900</a:t>
                      </a:r>
                    </a:p>
                  </a:txBody>
                  <a:tcPr marL="4900" marR="4900" marT="490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SE PHARMACY - FTT80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20 8469 1711</a:t>
                      </a:r>
                    </a:p>
                  </a:txBody>
                  <a:tcPr marL="4900" marR="4900" marT="490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505693181"/>
                  </a:ext>
                </a:extLst>
              </a:tr>
              <a:tr h="257130"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 JAMES PHARMACY - FXR67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20 8854 1713</a:t>
                      </a:r>
                    </a:p>
                  </a:txBody>
                  <a:tcPr marL="4900" marR="4900" marT="490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ttingham Pharmacy - FC313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20 8857 7566</a:t>
                      </a:r>
                    </a:p>
                  </a:txBody>
                  <a:tcPr marL="4900" marR="4900" marT="490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833771981"/>
                  </a:ext>
                </a:extLst>
              </a:tr>
              <a:tr h="331659"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STERS CHEMISTS - FQR61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20 8856 1104</a:t>
                      </a:r>
                    </a:p>
                  </a:txBody>
                  <a:tcPr marL="4900" marR="4900" marT="490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lackheath Standard Pharmacy - FNP06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20 8858 0443</a:t>
                      </a:r>
                    </a:p>
                  </a:txBody>
                  <a:tcPr marL="4900" marR="4900" marT="490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80842561"/>
                  </a:ext>
                </a:extLst>
              </a:tr>
              <a:tr h="257130"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AL CHEMISTS - FXE44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20 8854 6713</a:t>
                      </a:r>
                    </a:p>
                  </a:txBody>
                  <a:tcPr marL="4900" marR="4900" marT="490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UNCANS PHARMACY - FEA03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20 8858 1953</a:t>
                      </a:r>
                    </a:p>
                  </a:txBody>
                  <a:tcPr marL="4900" marR="4900" marT="490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84776557"/>
                  </a:ext>
                </a:extLst>
              </a:tr>
              <a:tr h="25713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OLWICH LATE NIGHT PHARMACY - FA716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20 8316 7977</a:t>
                      </a:r>
                    </a:p>
                  </a:txBody>
                  <a:tcPr marL="4900" marR="4900" marT="490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asis Pharmacy - FHH89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20 3247 4243</a:t>
                      </a:r>
                    </a:p>
                  </a:txBody>
                  <a:tcPr marL="4900" marR="4900" marT="490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979570946"/>
                  </a:ext>
                </a:extLst>
              </a:tr>
              <a:tr h="257130"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yramid Pharmacy (Old Dover Rd) - FFA12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20 4559 8548</a:t>
                      </a:r>
                    </a:p>
                  </a:txBody>
                  <a:tcPr marL="4900" marR="4900" marT="490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OWNES CHEMISTS (Eynsham Drive) - FK901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20 8310 4149</a:t>
                      </a:r>
                    </a:p>
                  </a:txBody>
                  <a:tcPr marL="4900" marR="4900" marT="490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22641356"/>
                  </a:ext>
                </a:extLst>
              </a:tr>
              <a:tr h="257130"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yramid Pharmacy (Powis St) - FGJ82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20 8317 1176</a:t>
                      </a:r>
                    </a:p>
                  </a:txBody>
                  <a:tcPr marL="4900" marR="4900" marT="490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PHARM CHEMIST - FAR88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20 8316 7300</a:t>
                      </a:r>
                    </a:p>
                  </a:txBody>
                  <a:tcPr marL="4900" marR="4900" marT="490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664528173"/>
                  </a:ext>
                </a:extLst>
              </a:tr>
              <a:tr h="257130"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HINCHAT PHARMACY - FTL72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20 8316 7380</a:t>
                      </a:r>
                    </a:p>
                  </a:txBody>
                  <a:tcPr marL="4900" marR="4900" marT="490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OWNES CHEMISTS (Wilton Rd) - FMR26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20 8311 0898</a:t>
                      </a:r>
                    </a:p>
                  </a:txBody>
                  <a:tcPr marL="4900" marR="4900" marT="490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50663470"/>
                  </a:ext>
                </a:extLst>
              </a:tr>
              <a:tr h="257130"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ARLTON PHARMACY - FVG96</a:t>
                      </a:r>
                      <a:endParaRPr lang="en-GB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20 8858 8753</a:t>
                      </a:r>
                    </a:p>
                  </a:txBody>
                  <a:tcPr marL="4900" marR="4900" marT="490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RBERT PHARMACY - FDQ41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20 8854 3530</a:t>
                      </a:r>
                    </a:p>
                  </a:txBody>
                  <a:tcPr marL="4900" marR="4900" marT="490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818742520"/>
                  </a:ext>
                </a:extLst>
              </a:tr>
              <a:tr h="257130"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EMCARE PHARMACY - FY283</a:t>
                      </a:r>
                      <a:endParaRPr lang="en-GB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20 8856 0134</a:t>
                      </a:r>
                    </a:p>
                  </a:txBody>
                  <a:tcPr marL="4900" marR="4900" marT="490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ESTON PHARMACY - FWM57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20 8854 1064</a:t>
                      </a:r>
                    </a:p>
                  </a:txBody>
                  <a:tcPr marL="4900" marR="4900" marT="490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882417749"/>
                  </a:ext>
                </a:extLst>
              </a:tr>
              <a:tr h="257130"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EVENS PHARMACY - FK062</a:t>
                      </a:r>
                      <a:endParaRPr lang="en-GB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20 8850 1593</a:t>
                      </a:r>
                    </a:p>
                  </a:txBody>
                  <a:tcPr marL="4900" marR="4900" marT="490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EPHARM CHEMISTS (Plumstead) - FCK76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20 8316 7355</a:t>
                      </a:r>
                    </a:p>
                  </a:txBody>
                  <a:tcPr marL="4900" marR="4900" marT="490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923516831"/>
                  </a:ext>
                </a:extLst>
              </a:tr>
              <a:tr h="257130"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OPSON PHARMACY - FE289</a:t>
                      </a:r>
                      <a:endParaRPr lang="en-GB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20 8856 3366</a:t>
                      </a:r>
                    </a:p>
                  </a:txBody>
                  <a:tcPr marL="4900" marR="4900" marT="490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EPHARM CHEMISTS (Greenwich) - FGR61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20 8469 0692</a:t>
                      </a:r>
                    </a:p>
                  </a:txBody>
                  <a:tcPr marL="4900" marR="4900" marT="490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489954712"/>
                  </a:ext>
                </a:extLst>
              </a:tr>
              <a:tr h="25713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 NEEM TREE PHARMACY - FWN12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20 8311 9003</a:t>
                      </a:r>
                    </a:p>
                  </a:txBody>
                  <a:tcPr marL="4900" marR="4900" marT="490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rst Care Pharmacy - FJG92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20 3137 9397 </a:t>
                      </a:r>
                    </a:p>
                  </a:txBody>
                  <a:tcPr marL="4900" marR="4900" marT="490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948668670"/>
                  </a:ext>
                </a:extLst>
              </a:tr>
              <a:tr h="257130"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NGAL PHARMACY (Green Place) - FWW22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20 8305 0748</a:t>
                      </a:r>
                    </a:p>
                  </a:txBody>
                  <a:tcPr marL="4900" marR="4900" marT="490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 VILLAGE PHARMACY - FXF89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20 8858 0907</a:t>
                      </a:r>
                    </a:p>
                  </a:txBody>
                  <a:tcPr marL="4900" marR="4900" marT="490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752498524"/>
                  </a:ext>
                </a:extLst>
              </a:tr>
              <a:tr h="257130"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ngal Pharmacy (Well Hall Rd) - FPC00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20 8850 6860</a:t>
                      </a:r>
                    </a:p>
                  </a:txBody>
                  <a:tcPr marL="4900" marR="4900" marT="490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TY PHARMACY - FA450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20 8858 0657</a:t>
                      </a:r>
                    </a:p>
                  </a:txBody>
                  <a:tcPr marL="4900" marR="4900" marT="490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958753536"/>
                  </a:ext>
                </a:extLst>
              </a:tr>
              <a:tr h="257130"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ngal Pharmacy (Sherard Rd) - FFG07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20 8859 0036</a:t>
                      </a:r>
                    </a:p>
                  </a:txBody>
                  <a:tcPr marL="4900" marR="4900" marT="490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ase Pharmacy - FD863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20 8854 4913</a:t>
                      </a:r>
                    </a:p>
                  </a:txBody>
                  <a:tcPr marL="4900" marR="4900" marT="490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25637108"/>
                  </a:ext>
                </a:extLst>
              </a:tr>
              <a:tr h="25713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y Pharmacy - FGV05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20 8850 1989</a:t>
                      </a:r>
                    </a:p>
                  </a:txBody>
                  <a:tcPr marL="4900" marR="4900" marT="490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ROWNES CHEMISTS - FK901</a:t>
                      </a:r>
                    </a:p>
                  </a:txBody>
                  <a:tcPr marL="4900" marR="4900" marT="49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20 8311 0898</a:t>
                      </a:r>
                    </a:p>
                  </a:txBody>
                  <a:tcPr marL="4900" marR="4900" marT="490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085699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553387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  -  Compatibility Mode" id="{C8D68B3C-46FE-8A44-B1C6-695B798B8244}" vid="{D602DA36-49CC-6743-9D3E-2F4DC04F3580}"/>
    </a:ext>
  </a:extLst>
</a:theme>
</file>

<file path=ppt/theme/theme2.xml><?xml version="1.0" encoding="utf-8"?>
<a:theme xmlns:a="http://schemas.openxmlformats.org/drawingml/2006/main" name="South East London ICS">
  <a:themeElements>
    <a:clrScheme name="NHS SEL">
      <a:dk1>
        <a:srgbClr val="001D2E"/>
      </a:dk1>
      <a:lt1>
        <a:srgbClr val="FFFFFF"/>
      </a:lt1>
      <a:dk2>
        <a:srgbClr val="003893"/>
      </a:dk2>
      <a:lt2>
        <a:srgbClr val="D2D2D2"/>
      </a:lt2>
      <a:accent1>
        <a:srgbClr val="003893"/>
      </a:accent1>
      <a:accent2>
        <a:srgbClr val="0091C9"/>
      </a:accent2>
      <a:accent3>
        <a:srgbClr val="00ADC6"/>
      </a:accent3>
      <a:accent4>
        <a:srgbClr val="80D3EA"/>
      </a:accent4>
      <a:accent5>
        <a:srgbClr val="FDED00"/>
      </a:accent5>
      <a:accent6>
        <a:srgbClr val="F0EDED"/>
      </a:accent6>
      <a:hlink>
        <a:srgbClr val="005EB8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dirty="0">
            <a:solidFill>
              <a:srgbClr val="023D5B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EL ICS_PPT Template_2024_ICS_ICB" id="{20ABD676-9D56-0640-B970-96BEA43FE1EE}" vid="{783D65E3-B40A-804F-9AA4-E2C98B478E37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SEL CCG Document" ma:contentTypeID="0x0101009CEB1DA2CC907747900298E7F35D742E00CD0DCF67F9FBE84CAA4EA1D689E6ACB9" ma:contentTypeVersion="3" ma:contentTypeDescription="" ma:contentTypeScope="" ma:versionID="3ad2d2539e51f036d2207c5ca1c38961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b14f266cad7f60f7d2d20c9a94518b8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4.xml><?xml version="1.0" encoding="utf-8"?>
<?mso-contentType ?>
<SharedContentType xmlns="Microsoft.SharePoint.Taxonomy.ContentTypeSync" SourceId="c65629fe-fa3b-4d8f-b0ac-4a13011ce303" ContentTypeId="0x0101009CEB1DA2CC907747900298E7F35D742E" PreviousValue="false"/>
</file>

<file path=customXml/itemProps1.xml><?xml version="1.0" encoding="utf-8"?>
<ds:datastoreItem xmlns:ds="http://schemas.openxmlformats.org/officeDocument/2006/customXml" ds:itemID="{B7081945-123A-4DC5-AE20-BD3C681F206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D109BEA6-CA7B-4FBD-8BBB-290507871B3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A9066BB-6E68-4A9D-9848-A5363CFD3E4F}">
  <ds:schemaRefs>
    <ds:schemaRef ds:uri="9665b79a-0338-48fd-a2d6-3951c001299f"/>
    <ds:schemaRef ds:uri="ca38f9bd-10fb-4469-b523-de08287e2ac0"/>
    <ds:schemaRef ds:uri="http://schemas.microsoft.com/office/2006/metadata/properties"/>
    <ds:schemaRef ds:uri="http://schemas.microsoft.com/office/infopath/2007/PartnerControls"/>
  </ds:schemaRefs>
</ds:datastoreItem>
</file>

<file path=customXml/itemProps4.xml><?xml version="1.0" encoding="utf-8"?>
<ds:datastoreItem xmlns:ds="http://schemas.openxmlformats.org/officeDocument/2006/customXml" ds:itemID="{53135907-D262-4718-86DE-BB5D6BF75696}">
  <ds:schemaRefs>
    <ds:schemaRef ds:uri="Microsoft.SharePoint.Taxonomy.ContentTypeSyn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55</TotalTime>
  <Words>330</Words>
  <Application>Microsoft Office PowerPoint</Application>
  <PresentationFormat>Widescreen</PresentationFormat>
  <Paragraphs>79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Light</vt:lpstr>
      <vt:lpstr>Office Theme</vt:lpstr>
      <vt:lpstr>South East London ICS</vt:lpstr>
      <vt:lpstr>think-cell Slide</vt:lpstr>
      <vt:lpstr>Greenwich Pharmacy First Plus Scheme  Participating Greenwich Pharmacies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mes Smart</dc:creator>
  <cp:lastModifiedBy>Lara Elwahsh (NHS South East London ICB)</cp:lastModifiedBy>
  <cp:revision>16</cp:revision>
  <cp:lastPrinted>2024-06-03T09:18:40Z</cp:lastPrinted>
  <dcterms:created xsi:type="dcterms:W3CDTF">2022-06-15T14:33:04Z</dcterms:created>
  <dcterms:modified xsi:type="dcterms:W3CDTF">2025-11-11T15:20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CEB1DA2CC907747900298E7F35D742E00CD0DCF67F9FBE84CAA4EA1D689E6ACB9</vt:lpwstr>
  </property>
  <property fmtid="{D5CDD505-2E9C-101B-9397-08002B2CF9AE}" pid="3" name="MediaServiceImageTags">
    <vt:lpwstr/>
  </property>
  <property fmtid="{D5CDD505-2E9C-101B-9397-08002B2CF9AE}" pid="4" name="lcf76f155ced4ddcb4097134ff3c332f">
    <vt:lpwstr/>
  </property>
  <property fmtid="{D5CDD505-2E9C-101B-9397-08002B2CF9AE}" pid="5" name="TaxCatchAll">
    <vt:lpwstr/>
  </property>
</Properties>
</file>